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1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notesSlides/notesSlide2.xml" ContentType="application/vnd.openxmlformats-officedocument.presentationml.notesSl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3.xml" ContentType="application/vnd.openxmlformats-officedocument.presentationml.notesSl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4.xml" ContentType="application/vnd.openxmlformats-officedocument.presentationml.notesSl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5.xml" ContentType="application/vnd.openxmlformats-officedocument.presentationml.notesSlid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6.xml" ContentType="application/vnd.openxmlformats-officedocument.presentationml.notesSl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7.xml" ContentType="application/vnd.openxmlformats-officedocument.presentationml.notesSl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8.xml" ContentType="application/vnd.openxmlformats-officedocument.presentationml.notesSl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notesSlides/notesSlide9.xml" ContentType="application/vnd.openxmlformats-officedocument.presentationml.notesSl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notesSlides/notesSlide10.xml" ContentType="application/vnd.openxmlformats-officedocument.presentationml.notesSlid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notesSlides/notesSlide11.xml" ContentType="application/vnd.openxmlformats-officedocument.presentationml.notesSlide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notesSlides/notesSlide12.xml" ContentType="application/vnd.openxmlformats-officedocument.presentationml.notesSlid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notesSlides/notesSlide13.xml" ContentType="application/vnd.openxmlformats-officedocument.presentationml.notesSlid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notesSlides/notesSlide14.xml" ContentType="application/vnd.openxmlformats-officedocument.presentationml.notesSlid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notesSlides/notesSlide15.xml" ContentType="application/vnd.openxmlformats-officedocument.presentationml.notesSlide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notesSlides/notesSlide17.xml" ContentType="application/vnd.openxmlformats-officedocument.presentationml.notesSlid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notesSlides/notesSlide18.xml" ContentType="application/vnd.openxmlformats-officedocument.presentationml.notesSlide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notesSlides/notesSlide19.xml" ContentType="application/vnd.openxmlformats-officedocument.presentationml.notesSlid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notesSlides/notesSlide20.xml" ContentType="application/vnd.openxmlformats-officedocument.presentationml.notesSlide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notesSlides/notesSlide21.xml" ContentType="application/vnd.openxmlformats-officedocument.presentationml.notesSlid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notesSlides/notesSlide22.xml" ContentType="application/vnd.openxmlformats-officedocument.presentationml.notesSlide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notesSlides/notesSlide23.xml" ContentType="application/vnd.openxmlformats-officedocument.presentationml.notesSlide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notesSlides/notesSlide24.xml" ContentType="application/vnd.openxmlformats-officedocument.presentationml.notesSlide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notesSlides/notesSlide25.xml" ContentType="application/vnd.openxmlformats-officedocument.presentationml.notesSlide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notesSlides/notesSlide26.xml" ContentType="application/vnd.openxmlformats-officedocument.presentationml.notesSlide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notesSlides/notesSlide27.xml" ContentType="application/vnd.openxmlformats-officedocument.presentationml.notesSlid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notesSlides/notesSlide28.xml" ContentType="application/vnd.openxmlformats-officedocument.presentationml.notesSlide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notesSlides/notesSlide29.xml" ContentType="application/vnd.openxmlformats-officedocument.presentationml.notesSlide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3690" r:id="rId2"/>
    <p:sldId id="257" r:id="rId3"/>
    <p:sldId id="276" r:id="rId4"/>
    <p:sldId id="3742" r:id="rId5"/>
    <p:sldId id="3743" r:id="rId6"/>
    <p:sldId id="3744" r:id="rId7"/>
    <p:sldId id="3745" r:id="rId8"/>
    <p:sldId id="269" r:id="rId9"/>
    <p:sldId id="3746" r:id="rId10"/>
    <p:sldId id="3747" r:id="rId11"/>
    <p:sldId id="3741" r:id="rId12"/>
    <p:sldId id="261" r:id="rId13"/>
    <p:sldId id="262" r:id="rId14"/>
    <p:sldId id="263" r:id="rId15"/>
    <p:sldId id="264" r:id="rId16"/>
    <p:sldId id="265" r:id="rId17"/>
    <p:sldId id="266" r:id="rId18"/>
    <p:sldId id="267" r:id="rId19"/>
    <p:sldId id="3736" r:id="rId20"/>
    <p:sldId id="3735" r:id="rId21"/>
    <p:sldId id="289" r:id="rId22"/>
    <p:sldId id="290" r:id="rId23"/>
    <p:sldId id="279" r:id="rId24"/>
    <p:sldId id="282" r:id="rId25"/>
    <p:sldId id="280" r:id="rId26"/>
    <p:sldId id="281" r:id="rId27"/>
    <p:sldId id="284" r:id="rId28"/>
    <p:sldId id="285" r:id="rId29"/>
    <p:sldId id="272" r:id="rId30"/>
  </p:sldIdLst>
  <p:sldSz cx="12192000" cy="6858000"/>
  <p:notesSz cx="6858000" cy="9144000"/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usterfolien" id="{54CF9CB4-6EDB-4AC2-9AFB-EFC6E4817A6D}">
          <p14:sldIdLst>
            <p14:sldId id="3690"/>
            <p14:sldId id="257"/>
            <p14:sldId id="276"/>
            <p14:sldId id="3742"/>
            <p14:sldId id="3743"/>
            <p14:sldId id="3744"/>
            <p14:sldId id="3745"/>
            <p14:sldId id="269"/>
            <p14:sldId id="3746"/>
            <p14:sldId id="3747"/>
            <p14:sldId id="3741"/>
            <p14:sldId id="261"/>
            <p14:sldId id="262"/>
            <p14:sldId id="263"/>
            <p14:sldId id="264"/>
            <p14:sldId id="265"/>
            <p14:sldId id="266"/>
            <p14:sldId id="267"/>
            <p14:sldId id="3736"/>
            <p14:sldId id="3735"/>
            <p14:sldId id="289"/>
            <p14:sldId id="290"/>
            <p14:sldId id="279"/>
            <p14:sldId id="282"/>
            <p14:sldId id="280"/>
            <p14:sldId id="281"/>
            <p14:sldId id="284"/>
            <p14:sldId id="285"/>
            <p14:sldId id="272"/>
          </p14:sldIdLst>
        </p14:section>
        <p14:section name="Standardabschnitt" id="{DFA7A10C-E1EB-4972-AB36-D2ACD314A82C}">
          <p14:sldIdLst/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AFC9"/>
    <a:srgbClr val="7DA4C1"/>
    <a:srgbClr val="6190B3"/>
    <a:srgbClr val="4C7B9E"/>
    <a:srgbClr val="3E6582"/>
    <a:srgbClr val="BAC7D5"/>
    <a:srgbClr val="456F90"/>
    <a:srgbClr val="8CA6BF"/>
    <a:srgbClr val="A4B7CA"/>
    <a:srgbClr val="4B7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028" autoAdjust="0"/>
  </p:normalViewPr>
  <p:slideViewPr>
    <p:cSldViewPr snapToGrid="0" showGuides="1">
      <p:cViewPr varScale="1">
        <p:scale>
          <a:sx n="108" d="100"/>
          <a:sy n="108" d="100"/>
        </p:scale>
        <p:origin x="144" y="123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de-AT"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de-AT" sz="1400" b="1" dirty="0"/>
              <a:t>Kreisdiagram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de-AT"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TU_Vorlage_Muster V0.21]Beispieldaten'!$B$12</c:f>
              <c:strCache>
                <c:ptCount val="1"/>
                <c:pt idx="0">
                  <c:v>2016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49-4F18-A18C-44EFE031E7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49-4F18-A18C-44EFE031E7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249-4F18-A18C-44EFE031E77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249-4F18-A18C-44EFE031E77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249-4F18-A18C-44EFE031E77F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249-4F18-A18C-44EFE031E77F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249-4F18-A18C-44EFE031E77F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249-4F18-A18C-44EFE031E77F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249-4F18-A18C-44EFE031E77F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249-4F18-A18C-44EFE031E77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[TU_Vorlage_Muster V0.21]Beispieldaten'!$A$13:$A$16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'[TU_Vorlage_Muster V0.21]Beispieldaten'!$B$13:$B$16</c:f>
              <c:numCache>
                <c:formatCode>0.0</c:formatCode>
                <c:ptCount val="4"/>
                <c:pt idx="0">
                  <c:v>4.5</c:v>
                </c:pt>
                <c:pt idx="1">
                  <c:v>4</c:v>
                </c:pt>
                <c:pt idx="2">
                  <c:v>1.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B249-4F18-A18C-44EFE031E77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000">
          <a:solidFill>
            <a:sysClr val="windowText" lastClr="000000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21.02.2026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Nr.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21.02.2026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41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5" Type="http://schemas.openxmlformats.org/officeDocument/2006/relationships/slide" Target="../slides/slide10.xml"/><Relationship Id="rId4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5" Type="http://schemas.openxmlformats.org/officeDocument/2006/relationships/slide" Target="../slides/slide11.xml"/><Relationship Id="rId4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5" Type="http://schemas.openxmlformats.org/officeDocument/2006/relationships/slide" Target="../slides/slide12.xml"/><Relationship Id="rId4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5" Type="http://schemas.openxmlformats.org/officeDocument/2006/relationships/slide" Target="../slides/slide13.xml"/><Relationship Id="rId4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5" Type="http://schemas.openxmlformats.org/officeDocument/2006/relationships/slide" Target="../slides/slide14.xml"/><Relationship Id="rId4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5" Type="http://schemas.openxmlformats.org/officeDocument/2006/relationships/slide" Target="../slides/slide15.xml"/><Relationship Id="rId4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5" Type="http://schemas.openxmlformats.org/officeDocument/2006/relationships/slide" Target="../slides/slide16.xml"/><Relationship Id="rId4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5" Type="http://schemas.openxmlformats.org/officeDocument/2006/relationships/slide" Target="../slides/slide17.xml"/><Relationship Id="rId4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11.xml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5" Type="http://schemas.openxmlformats.org/officeDocument/2006/relationships/slide" Target="../slides/slide18.xml"/><Relationship Id="rId4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5" Type="http://schemas.openxmlformats.org/officeDocument/2006/relationships/slide" Target="../slides/slide19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5" Type="http://schemas.openxmlformats.org/officeDocument/2006/relationships/slide" Target="../slides/slide2.xml"/><Relationship Id="rId4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5" Type="http://schemas.openxmlformats.org/officeDocument/2006/relationships/slide" Target="../slides/slide20.xml"/><Relationship Id="rId4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5" Type="http://schemas.openxmlformats.org/officeDocument/2006/relationships/slide" Target="../slides/slide21.xml"/><Relationship Id="rId4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5" Type="http://schemas.openxmlformats.org/officeDocument/2006/relationships/slide" Target="../slides/slide22.xml"/><Relationship Id="rId4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350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5" Type="http://schemas.openxmlformats.org/officeDocument/2006/relationships/slide" Target="../slides/slide23.xml"/><Relationship Id="rId4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5" Type="http://schemas.openxmlformats.org/officeDocument/2006/relationships/slide" Target="../slides/slide24.xml"/><Relationship Id="rId4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368.xml"/><Relationship Id="rId2" Type="http://schemas.openxmlformats.org/officeDocument/2006/relationships/tags" Target="../tags/tag367.xml"/><Relationship Id="rId1" Type="http://schemas.openxmlformats.org/officeDocument/2006/relationships/tags" Target="../tags/tag366.xml"/><Relationship Id="rId5" Type="http://schemas.openxmlformats.org/officeDocument/2006/relationships/slide" Target="../slides/slide25.xml"/><Relationship Id="rId4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379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5" Type="http://schemas.openxmlformats.org/officeDocument/2006/relationships/slide" Target="../slides/slide26.xml"/><Relationship Id="rId4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88.xml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5" Type="http://schemas.openxmlformats.org/officeDocument/2006/relationships/slide" Target="../slides/slide27.xml"/><Relationship Id="rId4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5" Type="http://schemas.openxmlformats.org/officeDocument/2006/relationships/slide" Target="../slides/slide28.xml"/><Relationship Id="rId4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404.xml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5" Type="http://schemas.openxmlformats.org/officeDocument/2006/relationships/slide" Target="../slides/slide29.xml"/><Relationship Id="rId4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slide" Target="../slides/slide3.xml"/><Relationship Id="rId4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slide" Target="../slides/slide4.xml"/><Relationship Id="rId4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5" Type="http://schemas.openxmlformats.org/officeDocument/2006/relationships/slide" Target="../slides/slide5.xml"/><Relationship Id="rId4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5" Type="http://schemas.openxmlformats.org/officeDocument/2006/relationships/slide" Target="../slides/slide6.xml"/><Relationship Id="rId4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5" Type="http://schemas.openxmlformats.org/officeDocument/2006/relationships/slide" Target="../slides/slide7.xml"/><Relationship Id="rId4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5" Type="http://schemas.openxmlformats.org/officeDocument/2006/relationships/slide" Target="../slides/slide8.xml"/><Relationship Id="rId4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5" Type="http://schemas.openxmlformats.org/officeDocument/2006/relationships/slide" Target="../slides/slide9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64100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57FD6D-0E6C-F9DC-36EF-362C4C272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758AF54-3070-0F60-8D28-91D0AF9331E7}"/>
              </a:ext>
            </a:extLst>
          </p:cNvPr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6FC7919-ED15-10D7-07CC-79D7BB9032A7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9282E9-A8BD-14F1-83EF-6C0FFEF8F59A}"/>
              </a:ext>
            </a:extLst>
          </p:cNvPr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642162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592635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6343532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909751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17417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314212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735601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149742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413059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04039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229815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413059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9119845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278105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13943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933230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791332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4251831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417539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8436625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01559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563403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19D32-EC3B-B610-5718-2FCF78B98A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25CD294-0880-CDE4-685E-5754E5B4B730}"/>
              </a:ext>
            </a:extLst>
          </p:cNvPr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6742D59-58B5-345C-ACE3-AB5AABFFAE18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98C3DDD-15C6-ED13-EAE6-401178E4BBE3}"/>
              </a:ext>
            </a:extLst>
          </p:cNvPr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56835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CDA0D2-3D70-A6D2-D98A-7250D45C99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C0EFE2A-68CA-B85B-CEC1-5E6F141B8C69}"/>
              </a:ext>
            </a:extLst>
          </p:cNvPr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9CD9C45-5949-FD2D-3EFB-326D89213348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BAB2B15-7A28-04EC-90E3-29B4BF6C4998}"/>
              </a:ext>
            </a:extLst>
          </p:cNvPr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7701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6984B1-7035-4D3D-4E00-2E53254CF8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8D21DF6-D5F9-E3C7-48E9-2E16F6FAE218}"/>
              </a:ext>
            </a:extLst>
          </p:cNvPr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2CB13BF-B0FE-5082-12D4-736FBDE572B5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2C5807-FFDB-43C1-6293-42147505735D}"/>
              </a:ext>
            </a:extLst>
          </p:cNvPr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602112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510225-9131-1C19-5FAA-A1F18D11E6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84D1775-3AF8-9895-B69E-8BB8D948F771}"/>
              </a:ext>
            </a:extLst>
          </p:cNvPr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CDF69E9-2D69-F11A-D1E7-D57691AC84C7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F0F2F82-9F3F-55E5-1776-3639BDF97634}"/>
              </a:ext>
            </a:extLst>
          </p:cNvPr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01936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592635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0E41F2-2A83-F742-FF6A-E6380A717D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532C5D4-1B6E-0E6B-38BF-CAE0FD216A40}"/>
              </a:ext>
            </a:extLst>
          </p:cNvPr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3F90108-C1EC-1966-D5B4-3ED86F2C61E2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1D5F64-F30C-C15E-F606-946E71322564}"/>
              </a:ext>
            </a:extLst>
          </p:cNvPr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17720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6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7" Type="http://schemas.openxmlformats.org/officeDocument/2006/relationships/hyperlink" Target="https://www.infineon.com/assets/row/public/documents/30/44/infineon-cy8ckit-062s2-user-guide-usermanual-en.pdf?fileId=8ac78c8c90530b3a01906d4608842668" TargetMode="Externa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hyperlink" Target="https://www.infineon.com/assets/row/public/documents/24/49/infineon-bgt60tr13c-datasheet-en.pdf" TargetMode="Externa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246.xml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245.xml"/><Relationship Id="rId9" Type="http://schemas.openxmlformats.org/officeDocument/2006/relationships/tags" Target="../tags/tag25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258.xml"/><Relationship Id="rId4" Type="http://schemas.openxmlformats.org/officeDocument/2006/relationships/tags" Target="../tags/tag25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264.xml"/><Relationship Id="rId7" Type="http://schemas.openxmlformats.org/officeDocument/2006/relationships/slideLayout" Target="../slideLayouts/slideLayout11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tags" Target="../tags/tag267.xml"/><Relationship Id="rId5" Type="http://schemas.openxmlformats.org/officeDocument/2006/relationships/tags" Target="../tags/tag266.xml"/><Relationship Id="rId4" Type="http://schemas.openxmlformats.org/officeDocument/2006/relationships/tags" Target="../tags/tag265.xml"/><Relationship Id="rId9" Type="http://schemas.openxmlformats.org/officeDocument/2006/relationships/image" Target="../media/image1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273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image" Target="../media/image1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84.xml"/><Relationship Id="rId4" Type="http://schemas.openxmlformats.org/officeDocument/2006/relationships/tags" Target="../tags/tag28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290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6" Type="http://schemas.openxmlformats.org/officeDocument/2006/relationships/tags" Target="../tags/tag293.xml"/><Relationship Id="rId5" Type="http://schemas.openxmlformats.org/officeDocument/2006/relationships/tags" Target="../tags/tag292.xml"/><Relationship Id="rId4" Type="http://schemas.openxmlformats.org/officeDocument/2006/relationships/tags" Target="../tags/tag291.xml"/><Relationship Id="rId9" Type="http://schemas.openxmlformats.org/officeDocument/2006/relationships/chart" Target="../charts/char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99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0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7" Type="http://schemas.openxmlformats.org/officeDocument/2006/relationships/notesSlide" Target="../notesSlides/notesSlide18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308.xml"/><Relationship Id="rId4" Type="http://schemas.openxmlformats.org/officeDocument/2006/relationships/tags" Target="../tags/tag30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3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8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21.xml"/><Relationship Id="rId7" Type="http://schemas.openxmlformats.org/officeDocument/2006/relationships/notesSlide" Target="../notesSlides/notesSlide20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323.xml"/><Relationship Id="rId4" Type="http://schemas.openxmlformats.org/officeDocument/2006/relationships/tags" Target="../tags/tag32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29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331.xml"/><Relationship Id="rId4" Type="http://schemas.openxmlformats.org/officeDocument/2006/relationships/tags" Target="../tags/tag33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37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339.xml"/><Relationship Id="rId4" Type="http://schemas.openxmlformats.org/officeDocument/2006/relationships/tags" Target="../tags/tag33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45.xml"/><Relationship Id="rId7" Type="http://schemas.openxmlformats.org/officeDocument/2006/relationships/notesSlide" Target="../notesSlides/notesSlide23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347.xml"/><Relationship Id="rId4" Type="http://schemas.openxmlformats.org/officeDocument/2006/relationships/tags" Target="../tags/tag34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53.xml"/><Relationship Id="rId7" Type="http://schemas.openxmlformats.org/officeDocument/2006/relationships/notesSlide" Target="../notesSlides/notesSlide24.xml"/><Relationship Id="rId2" Type="http://schemas.openxmlformats.org/officeDocument/2006/relationships/tags" Target="../tags/tag352.xml"/><Relationship Id="rId1" Type="http://schemas.openxmlformats.org/officeDocument/2006/relationships/tags" Target="../tags/tag351.x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355.xml"/><Relationship Id="rId4" Type="http://schemas.openxmlformats.org/officeDocument/2006/relationships/tags" Target="../tags/tag35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tags" Target="../tags/tag361.xml"/><Relationship Id="rId7" Type="http://schemas.openxmlformats.org/officeDocument/2006/relationships/tags" Target="../tags/tag365.xml"/><Relationship Id="rId2" Type="http://schemas.openxmlformats.org/officeDocument/2006/relationships/tags" Target="../tags/tag360.xml"/><Relationship Id="rId1" Type="http://schemas.openxmlformats.org/officeDocument/2006/relationships/tags" Target="../tags/tag359.xml"/><Relationship Id="rId6" Type="http://schemas.openxmlformats.org/officeDocument/2006/relationships/tags" Target="../tags/tag364.xml"/><Relationship Id="rId5" Type="http://schemas.openxmlformats.org/officeDocument/2006/relationships/tags" Target="../tags/tag363.xml"/><Relationship Id="rId4" Type="http://schemas.openxmlformats.org/officeDocument/2006/relationships/tags" Target="../tags/tag362.xml"/><Relationship Id="rId9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376.xml"/><Relationship Id="rId3" Type="http://schemas.openxmlformats.org/officeDocument/2006/relationships/tags" Target="../tags/tag371.xml"/><Relationship Id="rId7" Type="http://schemas.openxmlformats.org/officeDocument/2006/relationships/tags" Target="../tags/tag375.xml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6" Type="http://schemas.openxmlformats.org/officeDocument/2006/relationships/tags" Target="../tags/tag374.xml"/><Relationship Id="rId5" Type="http://schemas.openxmlformats.org/officeDocument/2006/relationships/tags" Target="../tags/tag373.xml"/><Relationship Id="rId10" Type="http://schemas.openxmlformats.org/officeDocument/2006/relationships/notesSlide" Target="../notesSlides/notesSlide26.xml"/><Relationship Id="rId4" Type="http://schemas.openxmlformats.org/officeDocument/2006/relationships/tags" Target="../tags/tag372.xml"/><Relationship Id="rId9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7.xml"/><Relationship Id="rId3" Type="http://schemas.openxmlformats.org/officeDocument/2006/relationships/tags" Target="../tags/tag382.xml"/><Relationship Id="rId7" Type="http://schemas.openxmlformats.org/officeDocument/2006/relationships/slideLayout" Target="../slideLayouts/slideLayout28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5" Type="http://schemas.openxmlformats.org/officeDocument/2006/relationships/tags" Target="../tags/tag384.xml"/><Relationship Id="rId4" Type="http://schemas.openxmlformats.org/officeDocument/2006/relationships/tags" Target="../tags/tag383.xml"/><Relationship Id="rId9" Type="http://schemas.openxmlformats.org/officeDocument/2006/relationships/image" Target="../media/image1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8.xml"/><Relationship Id="rId3" Type="http://schemas.openxmlformats.org/officeDocument/2006/relationships/tags" Target="../tags/tag391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6" Type="http://schemas.openxmlformats.org/officeDocument/2006/relationships/tags" Target="../tags/tag394.xml"/><Relationship Id="rId5" Type="http://schemas.openxmlformats.org/officeDocument/2006/relationships/tags" Target="../tags/tag393.xml"/><Relationship Id="rId4" Type="http://schemas.openxmlformats.org/officeDocument/2006/relationships/tags" Target="../tags/tag392.xml"/><Relationship Id="rId9" Type="http://schemas.openxmlformats.org/officeDocument/2006/relationships/image" Target="../media/image1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tuwien.at/" TargetMode="External"/><Relationship Id="rId3" Type="http://schemas.openxmlformats.org/officeDocument/2006/relationships/tags" Target="../tags/tag400.xml"/><Relationship Id="rId7" Type="http://schemas.openxmlformats.org/officeDocument/2006/relationships/hyperlink" Target="mailto:Marianne.muster@tuwien.ac.at" TargetMode="External"/><Relationship Id="rId2" Type="http://schemas.openxmlformats.org/officeDocument/2006/relationships/tags" Target="../tags/tag399.xml"/><Relationship Id="rId1" Type="http://schemas.openxmlformats.org/officeDocument/2006/relationships/tags" Target="../tags/tag398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32.xml"/><Relationship Id="rId4" Type="http://schemas.openxmlformats.org/officeDocument/2006/relationships/tags" Target="../tags/tag40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image" Target="../media/image9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10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11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12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4" Type="http://schemas.openxmlformats.org/officeDocument/2006/relationships/tags" Target="../tags/tag223.xml"/><Relationship Id="rId9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image" Target="../media/image13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DC556A-B41E-4B2F-8C99-140CFA3FBFC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61963" y="4438899"/>
            <a:ext cx="10134599" cy="1039564"/>
          </a:xfrm>
        </p:spPr>
        <p:txBody>
          <a:bodyPr/>
          <a:lstStyle/>
          <a:p>
            <a:r>
              <a:rPr lang="en-US" dirty="0"/>
              <a:t>Radar Detection of Static Objects</a:t>
            </a:r>
            <a:endParaRPr lang="de-AT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D7F2532-3445-42FF-A67C-2FEBC1EBE2E9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/>
          <a:p>
            <a:r>
              <a:rPr lang="de-DE" dirty="0"/>
              <a:t>H</a:t>
            </a:r>
            <a:r>
              <a:rPr lang="de-AT" dirty="0" err="1"/>
              <a:t>arald</a:t>
            </a:r>
            <a:r>
              <a:rPr lang="de-AT" dirty="0"/>
              <a:t> Fuchs, Manuel Hackl, Moritz Ma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F67DC2-96F0-420C-817E-D91C67D8B989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/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B89FB8-9762-4BC8-84AD-DE410AA8BF61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2093011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8818C0-F82D-10C7-EB13-FF66122D39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6140E07-4DB5-A1FE-0D12-F64E6CBD0A7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70" y="1549399"/>
            <a:ext cx="9578418" cy="426195"/>
          </a:xfrm>
        </p:spPr>
        <p:txBody>
          <a:bodyPr/>
          <a:lstStyle/>
          <a:p>
            <a:r>
              <a:rPr lang="de-AT" dirty="0"/>
              <a:t>References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7B5B0E3-356F-6E42-C2FD-78F97210BAA7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1307068" y="2628900"/>
            <a:ext cx="10633397" cy="3103562"/>
          </a:xfrm>
        </p:spPr>
        <p:txBody>
          <a:bodyPr/>
          <a:lstStyle/>
          <a:p>
            <a:r>
              <a:rPr lang="de-AT" b="1" dirty="0"/>
              <a:t>Infineon Technologies AG</a:t>
            </a:r>
            <a:r>
              <a:rPr lang="de-AT" dirty="0"/>
              <a:t> (2023):</a:t>
            </a:r>
          </a:p>
          <a:p>
            <a:pPr lvl="1"/>
            <a:r>
              <a:rPr lang="de-AT" sz="1600" dirty="0"/>
              <a:t> </a:t>
            </a:r>
            <a:r>
              <a:rPr lang="de-AT" sz="1600" i="1" dirty="0"/>
              <a:t>BGT60TR13C Datasheet:</a:t>
            </a:r>
            <a:r>
              <a:rPr lang="de-AT" sz="1600" dirty="0"/>
              <a:t>  </a:t>
            </a:r>
            <a:r>
              <a:rPr lang="de-AT" sz="1600" dirty="0">
                <a:hlinkClick r:id="rId6"/>
              </a:rPr>
              <a:t>https://www.infineon.com/assets/row/public/documents/24/49/infineon-bgt60tr13c-datasheet-en.pdf</a:t>
            </a:r>
            <a:endParaRPr lang="de-AT" sz="1600" dirty="0"/>
          </a:p>
          <a:p>
            <a:pPr lvl="1"/>
            <a:r>
              <a:rPr lang="de-AT" sz="1600" dirty="0"/>
              <a:t>PSOC6 Usermanual:	</a:t>
            </a:r>
            <a:r>
              <a:rPr lang="de-AT" sz="1600" dirty="0">
                <a:hlinkClick r:id="rId7"/>
              </a:rPr>
              <a:t>https://www.infineon.com/assets/row/public/documents/30/44/infineon-cy8ckit-062s2-user-guide-usermanual-en.pdf?fileId=8ac78c8c90530b3a01906d4608842668</a:t>
            </a:r>
            <a:endParaRPr lang="de-AT" sz="1600" dirty="0"/>
          </a:p>
          <a:p>
            <a:pPr marL="261937" lvl="1" indent="0">
              <a:buNone/>
            </a:pPr>
            <a:r>
              <a:rPr lang="de-AT" sz="1600" dirty="0"/>
              <a:t>	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DBD1144-DCCA-5F29-68FC-6D06524DB30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3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551163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AT"/>
              <a:t>Folienlayout „3 Inhalte“</a:t>
            </a:r>
            <a:endParaRPr lang="de-AT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/>
          <a:p>
            <a:pPr marL="0" indent="0">
              <a:buNone/>
            </a:pPr>
            <a:r>
              <a:rPr lang="de-AT" dirty="0"/>
              <a:t>Platzhalter können mit verschiedenen </a:t>
            </a:r>
            <a:r>
              <a:rPr lang="de-AT" dirty="0" err="1"/>
              <a:t>Inhal-ten</a:t>
            </a:r>
            <a:r>
              <a:rPr lang="de-AT" dirty="0"/>
              <a:t> gefüllt werden. 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aupt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lvl="1"/>
            <a:r>
              <a:rPr lang="de-AT" dirty="0"/>
              <a:t>Und noch eine Zei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DECEDD3-FF15-4CCF-B9B2-E1C1A18B7217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3"/>
            </p:custDataLst>
          </p:nvPr>
        </p:nvSpPr>
        <p:spPr>
          <a:xfrm>
            <a:off x="1308100" y="5795963"/>
            <a:ext cx="2879725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aupt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Und noch eine Zeile</a:t>
            </a:r>
            <a:endParaRPr lang="de-AT" b="1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818AABF-CE9A-4B90-A44C-10335898455C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5"/>
            </p:custDataLst>
          </p:nvPr>
        </p:nvSpPr>
        <p:spPr>
          <a:xfrm>
            <a:off x="4656138" y="5795963"/>
            <a:ext cx="2879725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58979D1-6337-4C68-898B-5C49EA86D8EB}"/>
              </a:ext>
            </a:extLst>
          </p:cNvPr>
          <p:cNvSpPr>
            <a:spLocks noGrp="1"/>
          </p:cNvSpPr>
          <p:nvPr>
            <p:ph sz="half" idx="17"/>
            <p:custDataLst>
              <p:tags r:id="rId6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aupt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dirty="0"/>
              <a:t>Und noch eine Zei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386F145-F092-4C95-A2A7-BB50245D6F9A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8004175" y="5795963"/>
            <a:ext cx="2879725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9C2E1CA-30DD-479B-AE35-DE6D252064F3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8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C381DAE-18EF-45B9-A652-655F84E4927D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9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349458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0CDC66-22D5-4FB3-ACFA-E5ED3910232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AT"/>
              <a:t>Folienlayout Fließtext 2-spaltig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EA4E20-E0AD-4B0A-A1A4-81AFA7C9B781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endParaRPr lang="de-AT" dirty="0"/>
          </a:p>
          <a:p>
            <a:r>
              <a:rPr lang="de-AT" dirty="0"/>
              <a:t>Es ist ein paradiesisches Land, in dem einem gebratene Satzteile in den Mund fliegen. </a:t>
            </a:r>
          </a:p>
          <a:p>
            <a:r>
              <a:rPr lang="de-AT" dirty="0"/>
              <a:t>Nicht einmal von der </a:t>
            </a:r>
            <a:r>
              <a:rPr lang="de-AT" dirty="0" err="1"/>
              <a:t>allmäch-tigen</a:t>
            </a:r>
            <a:r>
              <a:rPr lang="de-AT" dirty="0"/>
              <a:t> Interpunktion werden die Mustertexte beherrscht – ein geradezu unorthographisches Leben.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2A3179C-95C1-40EF-9D63-73DF5C82DACC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>
          <a:xfrm>
            <a:off x="1308100" y="5795963"/>
            <a:ext cx="9288463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/>
              <a:t>© Copyright- oder Quellenhinweis, ....</a:t>
            </a:r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2C6F73-AA35-45DC-B363-321E816D76B8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9A03C1C-7652-4A29-A0D2-93E5A59128C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976666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660B2B-355C-4A8C-B12E-9E131BFCA25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</a:t>
            </a:r>
            <a:br>
              <a:rPr lang="de-AT" dirty="0"/>
            </a:br>
            <a:r>
              <a:rPr lang="de-AT" dirty="0"/>
              <a:t>„Bild groß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9DAE12-9757-4336-A681-3BD1E8158B7C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</p:txBody>
      </p:sp>
      <p:pic>
        <p:nvPicPr>
          <p:cNvPr id="8" name="Bildplatzhalter 7" descr="Musterbild">
            <a:extLst>
              <a:ext uri="{FF2B5EF4-FFF2-40B4-BE49-F238E27FC236}">
                <a16:creationId xmlns:a16="http://schemas.microsoft.com/office/drawing/2014/main" id="{0E67DF5E-0605-499E-B9F6-8E653DF56A05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17" r="2317"/>
          <a:stretch/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8DD1E0-FC75-44D5-A685-15276050B3F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724525"/>
            <a:ext cx="5292724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70E476-3F5B-44CA-961A-C2D30C2470D7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A9754A9-AB9D-48AD-A27D-0E294DDE68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731916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1D41DA-FED0-4223-98E0-D80C7864AC3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AT" dirty="0"/>
              <a:t>Folienlayout „Bild Querformat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60C585-AA06-45B0-809E-6929B6CC6AF3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2620963"/>
            <a:ext cx="4464050" cy="3275012"/>
          </a:xfrm>
        </p:spPr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</p:txBody>
      </p:sp>
      <p:pic>
        <p:nvPicPr>
          <p:cNvPr id="7" name="Bildplatzhalter 7" descr="Musterbild">
            <a:extLst>
              <a:ext uri="{FF2B5EF4-FFF2-40B4-BE49-F238E27FC236}">
                <a16:creationId xmlns:a16="http://schemas.microsoft.com/office/drawing/2014/main" id="{139B5F4F-FF38-4A61-AFF1-FC37313E12CD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" b="35"/>
          <a:stretch/>
        </p:blipFill>
        <p:spPr>
          <a:xfrm>
            <a:off x="6419850" y="1549400"/>
            <a:ext cx="5292725" cy="3527425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0044DE-A15B-40E7-A4A5-5E93913A983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076825"/>
            <a:ext cx="5292725" cy="19440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9D6A56D-2D2C-4CC8-B6E9-E745BD1957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773175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65D97F-58D8-484B-8803-360ADDD0E95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9" y="1549399"/>
            <a:ext cx="10405506" cy="828675"/>
          </a:xfrm>
        </p:spPr>
        <p:txBody>
          <a:bodyPr/>
          <a:lstStyle/>
          <a:p>
            <a:r>
              <a:rPr lang="de-AT" dirty="0"/>
              <a:t>Folienlayout „Tabelle“</a:t>
            </a:r>
          </a:p>
        </p:txBody>
      </p:sp>
      <p:graphicFrame>
        <p:nvGraphicFramePr>
          <p:cNvPr id="7" name="Tabellenplatzhalter 6" descr="Mustertabelle">
            <a:extLst>
              <a:ext uri="{FF2B5EF4-FFF2-40B4-BE49-F238E27FC236}">
                <a16:creationId xmlns:a16="http://schemas.microsoft.com/office/drawing/2014/main" id="{B30E6C08-C75D-412A-BD17-93935791DF95}"/>
              </a:ext>
            </a:extLst>
          </p:cNvPr>
          <p:cNvGraphicFramePr>
            <a:graphicFrameLocks noGrp="1"/>
          </p:cNvGraphicFramePr>
          <p:nvPr>
            <p:ph type="tbl" sz="quarter" idx="11"/>
            <p:custDataLst>
              <p:tags r:id="rId2"/>
            </p:custDataLst>
          </p:nvPr>
        </p:nvGraphicFramePr>
        <p:xfrm>
          <a:off x="1306513" y="2620963"/>
          <a:ext cx="10406062" cy="2857500"/>
        </p:xfrm>
        <a:graphic>
          <a:graphicData uri="http://schemas.openxmlformats.org/drawingml/2006/table">
            <a:tbl>
              <a:tblPr firstRow="1" firstCol="1" lastRow="1" lastCol="1" bandRow="1">
                <a:tableStyleId>{3C2FFA5D-87B4-456A-9821-1D502468CF0F}</a:tableStyleId>
              </a:tblPr>
              <a:tblGrid>
                <a:gridCol w="2203292">
                  <a:extLst>
                    <a:ext uri="{9D8B030D-6E8A-4147-A177-3AD203B41FA5}">
                      <a16:colId xmlns:a16="http://schemas.microsoft.com/office/drawing/2014/main" val="1213073733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1308208642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3484575958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2895171601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783669260"/>
                    </a:ext>
                  </a:extLst>
                </a:gridCol>
                <a:gridCol w="1640554">
                  <a:extLst>
                    <a:ext uri="{9D8B030D-6E8A-4147-A177-3AD203B41FA5}">
                      <a16:colId xmlns:a16="http://schemas.microsoft.com/office/drawing/2014/main" val="2381303182"/>
                    </a:ext>
                  </a:extLst>
                </a:gridCol>
              </a:tblGrid>
              <a:tr h="387762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Betrag in Mio. EUR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2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3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4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5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effectLst/>
                        </a:rPr>
                        <a:t>2016</a:t>
                      </a:r>
                      <a:endParaRPr lang="de-AT" sz="3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652762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1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5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1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3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4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645119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2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3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1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9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77379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3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3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.6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1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5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372682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4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0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4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7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0384953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ategorie 5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9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.8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.6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2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600 </a:t>
                      </a:r>
                      <a:endParaRPr lang="de-AT" sz="3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702365"/>
                  </a:ext>
                </a:extLst>
              </a:tr>
              <a:tr h="411623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Ergebnis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9.6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8.2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4.8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37.3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           28.400 </a:t>
                      </a:r>
                      <a:endParaRPr lang="de-AT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6210524"/>
                  </a:ext>
                </a:extLst>
              </a:tr>
            </a:tbl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306D8AE-4B7C-4649-A5ED-802F1744A73E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3"/>
            </p:custDataLst>
          </p:nvPr>
        </p:nvSpPr>
        <p:spPr>
          <a:xfrm>
            <a:off x="1307070" y="5734917"/>
            <a:ext cx="10405506" cy="16362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050BC74-4FE2-498F-B8F4-D608F8CA787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42C00-6285-4D8A-9996-95B8986DDC9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018543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007A84-7BEB-4D6D-BC5B-9B760487E9D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AT" dirty="0"/>
              <a:t>Folienlayout „Diagramm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8B1D5E-1E77-4FD0-ABAB-4E9ECD3CCB64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2620963"/>
            <a:ext cx="4464050" cy="3275012"/>
          </a:xfrm>
        </p:spPr>
        <p:txBody>
          <a:bodyPr/>
          <a:lstStyle/>
          <a:p>
            <a:pPr marL="0" indent="0">
              <a:buNone/>
            </a:pPr>
            <a:r>
              <a:rPr lang="de-AT" b="1" dirty="0"/>
              <a:t>Hinweis zur Diagrammgestaltung</a:t>
            </a:r>
          </a:p>
          <a:p>
            <a:pPr marL="0" indent="0">
              <a:buNone/>
            </a:pPr>
            <a:r>
              <a:rPr lang="de-AT" dirty="0"/>
              <a:t>Im Sinne einer barrierefreien Ge-</a:t>
            </a:r>
            <a:r>
              <a:rPr lang="de-AT" dirty="0" err="1"/>
              <a:t>staltung</a:t>
            </a:r>
            <a:r>
              <a:rPr lang="de-AT" dirty="0"/>
              <a:t> sollten Farben so gut wie möglich unterscheidbar sein. Andernfalls bitte entsprechend </a:t>
            </a:r>
            <a:br>
              <a:rPr lang="de-AT" dirty="0"/>
            </a:br>
            <a:r>
              <a:rPr lang="de-AT" dirty="0"/>
              <a:t>über </a:t>
            </a:r>
            <a:r>
              <a:rPr lang="de-AT" b="1" dirty="0"/>
              <a:t>Beschreibungen oder Alternativtext </a:t>
            </a:r>
            <a:r>
              <a:rPr lang="de-AT" dirty="0"/>
              <a:t>Informationen abrufbar machen (weitere Details zur Diagrammgestaltung siehe </a:t>
            </a:r>
            <a:r>
              <a:rPr lang="de-AT" i="1" dirty="0" err="1"/>
              <a:t>TUW_Arbeitsmappe_Muster</a:t>
            </a:r>
            <a:r>
              <a:rPr lang="de-AT" dirty="0"/>
              <a:t>).</a:t>
            </a:r>
          </a:p>
          <a:p>
            <a:pPr lvl="2"/>
            <a:endParaRPr lang="de-AT" dirty="0"/>
          </a:p>
        </p:txBody>
      </p:sp>
      <p:graphicFrame>
        <p:nvGraphicFramePr>
          <p:cNvPr id="14" name="Diagrammplatzhalter 9" descr="Kreisdiagramm mit folgenden Werten:&#10;Kategorie 1: 31 %&#10;Kategorie 2: 27 %&#10;Kategorie 3: 8 %&#10;Kategorie 4: 34 %">
            <a:extLst>
              <a:ext uri="{FF2B5EF4-FFF2-40B4-BE49-F238E27FC236}">
                <a16:creationId xmlns:a16="http://schemas.microsoft.com/office/drawing/2014/main" id="{798446A9-9FAB-4F7A-AE1D-8CA2E1269707}"/>
              </a:ext>
            </a:extLst>
          </p:cNvPr>
          <p:cNvGraphicFramePr>
            <a:graphicFrameLocks noGrp="1"/>
          </p:cNvGraphicFramePr>
          <p:nvPr>
            <p:ph type="chart" sz="quarter" idx="14"/>
            <p:custDataLst>
              <p:tags r:id="rId3"/>
            </p:custDataLst>
          </p:nvPr>
        </p:nvGraphicFramePr>
        <p:xfrm>
          <a:off x="6419850" y="1209675"/>
          <a:ext cx="5292725" cy="451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5CCE06-4633-4A70-9638-DBE45E294C3B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724525"/>
            <a:ext cx="529272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5E3D761-2495-4099-A5FA-4753DDDE2A76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283FF0-9954-4C4F-BC0D-0B6B695C245B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6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443000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DBD9D1-A5B0-4910-92BF-0BC43A87D23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AT" dirty="0"/>
              <a:t>Folienlayout „Abschnittsüberschrift“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2356BE-44F7-4A00-9CB9-E3B890128075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/>
          <a:p>
            <a:r>
              <a:rPr lang="de-AT" dirty="0"/>
              <a:t>Platz für Untertit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CA92D6-745C-4450-A11E-33DC15752450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B6B2AE-8EC1-4C50-9BF1-F7A813F64D7A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667511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A678691-4435-44B8-8660-2C1854F0C7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/>
          <a:p>
            <a:r>
              <a:rPr lang="de-AT" dirty="0"/>
              <a:t>Folienlayout für Mediaclip</a:t>
            </a:r>
          </a:p>
        </p:txBody>
      </p:sp>
      <p:sp>
        <p:nvSpPr>
          <p:cNvPr id="9" name="Medienplatzhalter 8" descr="Medienplatzhalter&#10;">
            <a:extLst>
              <a:ext uri="{FF2B5EF4-FFF2-40B4-BE49-F238E27FC236}">
                <a16:creationId xmlns:a16="http://schemas.microsoft.com/office/drawing/2014/main" id="{B9405F0A-7554-4CE7-9D83-C95DB1F8F633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A9AB7C3-CA05-4B40-A06C-F46A259D030F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423025" y="6113198"/>
            <a:ext cx="48704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1CCE74E-F4B4-4C32-801F-924502EF4A6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B0903F-D204-4F0F-BA6C-781D7995B70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692611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1B6123-29B2-47AB-88F0-55B207782F5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/>
          <a:lstStyle/>
          <a:p>
            <a:r>
              <a:rPr lang="de-AT" dirty="0"/>
              <a:t>Musterzitat</a:t>
            </a:r>
            <a:br>
              <a:rPr lang="de-AT" dirty="0"/>
            </a:br>
            <a:r>
              <a:rPr lang="de-AT" dirty="0"/>
              <a:t>Lorem </a:t>
            </a:r>
            <a:r>
              <a:rPr lang="de-AT" dirty="0" err="1"/>
              <a:t>ipsum</a:t>
            </a:r>
            <a:r>
              <a:rPr lang="de-AT" dirty="0"/>
              <a:t> </a:t>
            </a:r>
            <a:r>
              <a:rPr lang="de-AT" dirty="0" err="1"/>
              <a:t>dolor</a:t>
            </a:r>
            <a:r>
              <a:rPr lang="de-AT" dirty="0"/>
              <a:t> </a:t>
            </a:r>
            <a:r>
              <a:rPr lang="de-AT" dirty="0" err="1"/>
              <a:t>sit</a:t>
            </a:r>
            <a:r>
              <a:rPr lang="de-AT" dirty="0"/>
              <a:t> </a:t>
            </a:r>
            <a:r>
              <a:rPr lang="de-AT" dirty="0" err="1"/>
              <a:t>amet</a:t>
            </a:r>
            <a:r>
              <a:rPr lang="de-AT" dirty="0"/>
              <a:t>, </a:t>
            </a:r>
            <a:r>
              <a:rPr lang="de-AT" dirty="0" err="1"/>
              <a:t>consectetuer</a:t>
            </a:r>
            <a:r>
              <a:rPr lang="de-AT" dirty="0"/>
              <a:t> </a:t>
            </a:r>
            <a:r>
              <a:rPr lang="de-AT" dirty="0" err="1"/>
              <a:t>adipiscing</a:t>
            </a:r>
            <a:r>
              <a:rPr lang="de-AT" dirty="0"/>
              <a:t> </a:t>
            </a:r>
            <a:r>
              <a:rPr lang="de-AT" dirty="0" err="1"/>
              <a:t>elit</a:t>
            </a:r>
            <a:r>
              <a:rPr lang="de-AT" dirty="0"/>
              <a:t>. Maecenas </a:t>
            </a:r>
            <a:r>
              <a:rPr lang="de-AT" dirty="0" err="1"/>
              <a:t>porttitor</a:t>
            </a:r>
            <a:r>
              <a:rPr lang="de-AT" dirty="0"/>
              <a:t> </a:t>
            </a:r>
            <a:r>
              <a:rPr lang="de-AT" dirty="0" err="1"/>
              <a:t>congue</a:t>
            </a:r>
            <a:r>
              <a:rPr lang="de-AT" dirty="0"/>
              <a:t> </a:t>
            </a:r>
            <a:r>
              <a:rPr lang="de-AT" dirty="0" err="1"/>
              <a:t>massa</a:t>
            </a:r>
            <a:r>
              <a:rPr lang="de-AT" dirty="0"/>
              <a:t>.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B31A55-E7A7-4A47-B171-8A63985487E4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2"/>
            </p:custDataLst>
          </p:nvPr>
        </p:nvSpPr>
        <p:spPr>
          <a:xfrm>
            <a:off x="6232525" y="4503737"/>
            <a:ext cx="4652963" cy="573088"/>
          </a:xfrm>
        </p:spPr>
        <p:txBody>
          <a:bodyPr/>
          <a:lstStyle/>
          <a:p>
            <a:r>
              <a:rPr lang="de-AT" dirty="0"/>
              <a:t>Lorem Ips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DE9C8F-A6DA-4626-9AB2-F0B3C2094195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F1B663-2F62-4EB5-A7BE-A7EA8849095D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03764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85F2F-BC66-4BFE-9993-10CD568B5EBD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308100" y="1362074"/>
            <a:ext cx="9577388" cy="767516"/>
          </a:xfrm>
        </p:spPr>
        <p:txBody>
          <a:bodyPr/>
          <a:lstStyle/>
          <a:p>
            <a:r>
              <a:rPr lang="de-AT" sz="3200" dirty="0"/>
              <a:t>Initial Situation and </a:t>
            </a:r>
            <a:r>
              <a:rPr lang="de-AT" sz="3200" dirty="0" err="1"/>
              <a:t>Objectives</a:t>
            </a:r>
            <a:endParaRPr lang="de-AT" sz="32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518FF93-C368-496C-9C7E-B5FDFB4EDC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308100" y="2370221"/>
            <a:ext cx="6356016" cy="282140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b="1" dirty="0"/>
              <a:t>Hardware Used: </a:t>
            </a:r>
            <a:r>
              <a:rPr lang="en-US" sz="1800" dirty="0"/>
              <a:t>PSOC6 board with the integrated BGT60TR13C radar sensor.</a:t>
            </a:r>
          </a:p>
          <a:p>
            <a:endParaRPr lang="en-US" sz="1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b="1" dirty="0"/>
              <a:t>Task:</a:t>
            </a:r>
            <a:r>
              <a:rPr lang="en-US" sz="1800" dirty="0"/>
              <a:t> Scanning a static object (specifically: a cardboard box).</a:t>
            </a:r>
          </a:p>
          <a:p>
            <a:endParaRPr lang="en-US" sz="1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b="1" dirty="0"/>
              <a:t>Core Goal: </a:t>
            </a:r>
            <a:r>
              <a:rPr lang="en-US" sz="1800" dirty="0"/>
              <a:t>Reliably detecting whether the cardboard box is empty or contains an object (a tin can).</a:t>
            </a:r>
            <a:r>
              <a:rPr lang="de-AT" sz="1800" dirty="0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EBBC48B-484D-472E-91AC-ADA8035C69B2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/>
        <p:txBody>
          <a:bodyPr/>
          <a:lstStyle/>
          <a:p>
            <a:pPr lvl="0"/>
            <a:r>
              <a:rPr lang="de-AT" dirty="0"/>
              <a:t>www.tuwien.at</a:t>
            </a:r>
          </a:p>
        </p:txBody>
      </p:sp>
      <p:pic>
        <p:nvPicPr>
          <p:cNvPr id="9" name="Grafik 8" descr="Ein Bild, das Elektronik, Elektronisches Bauteil, Elektrisches Bauelement, passives Bauelement enthält.&#10;&#10;KI-generierte Inhalte können fehlerhaft sein.">
            <a:extLst>
              <a:ext uri="{FF2B5EF4-FFF2-40B4-BE49-F238E27FC236}">
                <a16:creationId xmlns:a16="http://schemas.microsoft.com/office/drawing/2014/main" id="{48F52C7D-F4C0-B2FB-8445-37EB983B85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34348" y="2389710"/>
            <a:ext cx="2834427" cy="207858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2E1FD2B4-0D47-8C2F-7401-4B92DCEE1A06}"/>
              </a:ext>
            </a:extLst>
          </p:cNvPr>
          <p:cNvSpPr txBox="1"/>
          <p:nvPr/>
        </p:nvSpPr>
        <p:spPr>
          <a:xfrm>
            <a:off x="8614610" y="4543744"/>
            <a:ext cx="30739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Source: </a:t>
            </a:r>
            <a:r>
              <a:rPr lang="en-US" sz="800" dirty="0"/>
              <a:t>CY8CKIT-062S2-AI PSOC™ 6 AI Evaluation Kit guide</a:t>
            </a:r>
            <a:endParaRPr lang="de-AT" sz="8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3394E787-8857-B8A1-628A-B95A2514F142}"/>
              </a:ext>
            </a:extLst>
          </p:cNvPr>
          <p:cNvSpPr/>
          <p:nvPr/>
        </p:nvSpPr>
        <p:spPr>
          <a:xfrm>
            <a:off x="9565105" y="3555332"/>
            <a:ext cx="457200" cy="52938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3645626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1" descr="Musterbild&#10;">
            <a:extLst>
              <a:ext uri="{FF2B5EF4-FFF2-40B4-BE49-F238E27FC236}">
                <a16:creationId xmlns:a16="http://schemas.microsoft.com/office/drawing/2014/main" id="{66AF2688-D97B-4AF0-BE10-455C3C25CF1A}"/>
              </a:ext>
            </a:extLst>
          </p:cNvPr>
          <p:cNvPicPr>
            <a:picLocks noGrp="1" noChangeAspect="1"/>
          </p:cNvPicPr>
          <p:nvPr>
            <p:ph type="pic" sz="quarter" idx="16"/>
            <p:custDataLst>
              <p:tags r:id="rId1"/>
            </p:custDataLst>
          </p:nvPr>
        </p:nvPicPr>
        <p:blipFill rotWithShape="1">
          <a:blip r:embed="rId8"/>
          <a:srcRect t="23745" b="23745"/>
          <a:stretch/>
        </p:blipFill>
        <p:spPr>
          <a:xfrm>
            <a:off x="0" y="0"/>
            <a:ext cx="12192000" cy="6063380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BA678691-4435-44B8-8660-2C1854F0C73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/>
          <a:p>
            <a:r>
              <a:rPr lang="de-AT" dirty="0"/>
              <a:t>Folienlayout für großes Bild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A0BF16B-8789-4309-A844-8ACCADAEC357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7246938" y="6049963"/>
            <a:ext cx="4465637" cy="171450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1CCE74E-F4B4-4C32-801F-924502EF4A6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B0903F-D204-4F0F-BA6C-781D7995B70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668916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nhaltsplatzhalter 16" descr="Schematische Darstellung Sublogo">
            <a:extLst>
              <a:ext uri="{FF2B5EF4-FFF2-40B4-BE49-F238E27FC236}">
                <a16:creationId xmlns:a16="http://schemas.microsoft.com/office/drawing/2014/main" id="{354A31B6-A239-47BA-84ED-E4EF9306665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sz="quarter" idx="17"/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3" y="468313"/>
            <a:ext cx="2266363" cy="738187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A8822E-F3B0-47B2-AED4-289224A1979D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/>
          <a:lstStyle/>
          <a:p>
            <a:r>
              <a:rPr lang="de-AT" dirty="0"/>
              <a:t>Folienlayout „Titelfolie </a:t>
            </a:r>
            <a:br>
              <a:rPr lang="de-AT" dirty="0"/>
            </a:br>
            <a:r>
              <a:rPr lang="de-AT" dirty="0"/>
              <a:t>mit Sublogo“ (Beispiel)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6046A7F9-5520-464A-871C-61AF609B1C5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5" name="Sprechblase: rechteckig mit abgerundeten Ecken 4" descr="Hinweis">
            <a:extLst>
              <a:ext uri="{FF2B5EF4-FFF2-40B4-BE49-F238E27FC236}">
                <a16:creationId xmlns:a16="http://schemas.microsoft.com/office/drawing/2014/main" id="{4EA6D9DE-CC68-4FBE-B2CD-A38307E542F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71900" y="466725"/>
            <a:ext cx="3543300" cy="1301750"/>
          </a:xfrm>
          <a:prstGeom prst="wedgeRoundRectCallout">
            <a:avLst>
              <a:gd name="adj1" fmla="val -72851"/>
              <a:gd name="adj2" fmla="val -28996"/>
              <a:gd name="adj3" fmla="val 1666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sz="1200" dirty="0"/>
              <a:t>Hinweis: Das Sublogo sollte die dargestellten Dimensionen haben. Falls das Logo kleiner ist (weil Weißraum rund um das Logo ist), schneiden Sie das Bild bitte entsprechend zu (siehe Hinweise in Anleitungsdatei)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570E97E-0DB7-41A9-B111-3F5D1158A9C4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/>
        <p:txBody>
          <a:bodyPr/>
          <a:lstStyle/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22881501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 descr="Schematische Darstellung Sublogo">
            <a:extLst>
              <a:ext uri="{FF2B5EF4-FFF2-40B4-BE49-F238E27FC236}">
                <a16:creationId xmlns:a16="http://schemas.microsoft.com/office/drawing/2014/main" id="{CC38F8F0-2B45-4FE6-A209-D0F091D2CCE3}"/>
              </a:ext>
            </a:extLst>
          </p:cNvPr>
          <p:cNvPicPr>
            <a:picLocks noGrp="1" noChangeAspect="1"/>
          </p:cNvPicPr>
          <p:nvPr>
            <p:ph sz="quarter" idx="17"/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3" y="468313"/>
            <a:ext cx="2266363" cy="738187"/>
          </a:xfr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6A31DA15-FC12-412D-9521-0FBF901CBCF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/>
          <a:p>
            <a:r>
              <a:rPr lang="de-AT" dirty="0"/>
              <a:t>Folienlayout „Titelfolie mit Bild und </a:t>
            </a:r>
            <a:r>
              <a:rPr lang="de-AT" dirty="0" err="1"/>
              <a:t>Sublogo</a:t>
            </a:r>
            <a:r>
              <a:rPr lang="de-AT" dirty="0"/>
              <a:t>“ (Beispiel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1F3E631-9C8D-4BE6-B3C2-66B1EFC94254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3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020D9D-D385-44E4-B5C0-CF92441ECD74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247493" y="6050376"/>
            <a:ext cx="4465082" cy="171450"/>
          </a:xfrm>
        </p:spPr>
        <p:txBody>
          <a:bodyPr/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37714D0-9782-4AF0-8105-8C4EA157EA85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/>
        <p:txBody>
          <a:bodyPr/>
          <a:lstStyle/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14168154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16" descr="Schematische Darstellung Sublogo">
            <a:extLst>
              <a:ext uri="{FF2B5EF4-FFF2-40B4-BE49-F238E27FC236}">
                <a16:creationId xmlns:a16="http://schemas.microsoft.com/office/drawing/2014/main" id="{4BC3E1DE-C97D-48ED-9D06-062688536B1F}"/>
              </a:ext>
            </a:extLst>
          </p:cNvPr>
          <p:cNvPicPr>
            <a:picLocks noGrp="1" noChangeAspect="1"/>
          </p:cNvPicPr>
          <p:nvPr>
            <p:ph sz="quarter" idx="17"/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055" y="468437"/>
            <a:ext cx="2280986" cy="742950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BEA24AD2-91A9-445A-A7B9-68F7675CC9B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10405506" cy="828675"/>
          </a:xfrm>
        </p:spPr>
        <p:txBody>
          <a:bodyPr/>
          <a:lstStyle/>
          <a:p>
            <a:r>
              <a:rPr lang="de-AT" dirty="0"/>
              <a:t>Folienlayout „Abschnittsüberschrift mit Sublogo“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B176F74B-ED03-487A-A3EA-E3606282DFAC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AT" dirty="0"/>
              <a:t>(Beispiel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8D8854-0516-479F-A737-F16B3A0C160D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035E0-81DA-4800-8223-F21FDA0974AF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2593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AF0F06-6344-43D7-B79A-15212C2138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„Logo klein – Titel und Inhalt“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709C57-AC09-40BA-9D28-F42F0B8ED5E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dirty="0"/>
              <a:t>Platzhalter kann mit verschiedenen Inhalten gefüllt werden. 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Thema Ebene 1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r>
              <a:rPr lang="de-AT" b="1" dirty="0"/>
              <a:t> Ebene 2</a:t>
            </a:r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muss manuell fett gemacht werden</a:t>
            </a:r>
          </a:p>
          <a:p>
            <a:pPr lvl="1"/>
            <a:r>
              <a:rPr lang="de-AT" dirty="0"/>
              <a:t>Und noch eine Zeile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ier wieder Ebene 1</a:t>
            </a:r>
          </a:p>
          <a:p>
            <a:pPr marL="0" indent="-1463">
              <a:buNone/>
            </a:pPr>
            <a:r>
              <a:rPr lang="de-AT" b="1" dirty="0"/>
              <a:t>Und hier nochmals Ebene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5B5E3B5-0A20-4EDB-A31D-B61335E87A99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F27C7D-FE0E-4329-9679-F4AF68BD4CFA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EDB0B3-7143-4981-94C1-4678A7BD48E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260364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„Logo klein – 2 Inhalte“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lvl="1"/>
            <a:r>
              <a:rPr lang="de-AT" dirty="0"/>
              <a:t>Und noch eine Zeile</a:t>
            </a:r>
          </a:p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Hier wieder ein Hauptthema</a:t>
            </a:r>
          </a:p>
          <a:p>
            <a:pPr marL="0" indent="-1463">
              <a:buNone/>
            </a:pPr>
            <a:r>
              <a:rPr lang="de-AT" b="1" dirty="0"/>
              <a:t>Und hier nochmals Ebene 2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B404C80-135F-48E8-ABD1-0D51D03F8E94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b="1" dirty="0">
                <a:solidFill>
                  <a:schemeClr val="accent1"/>
                </a:solidFill>
              </a:rPr>
              <a:t>Thema</a:t>
            </a:r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marL="0" indent="-1463">
              <a:buNone/>
            </a:pPr>
            <a:r>
              <a:rPr lang="de-AT" b="1" dirty="0" err="1"/>
              <a:t>Subthema</a:t>
            </a:r>
            <a:endParaRPr lang="de-AT" b="1" dirty="0"/>
          </a:p>
          <a:p>
            <a:pPr lvl="1"/>
            <a:r>
              <a:rPr lang="de-AT" dirty="0"/>
              <a:t>Aufzählung</a:t>
            </a:r>
          </a:p>
          <a:p>
            <a:pPr lvl="1"/>
            <a:r>
              <a:rPr lang="de-AT" b="1" dirty="0"/>
              <a:t>Hervorhebung hier manuell fett</a:t>
            </a:r>
          </a:p>
          <a:p>
            <a:pPr lvl="1"/>
            <a:r>
              <a:rPr lang="de-AT" dirty="0"/>
              <a:t>Und noch eine Zeile</a:t>
            </a:r>
          </a:p>
          <a:p>
            <a:pPr marL="0" indent="0">
              <a:buNone/>
            </a:pPr>
            <a:endParaRPr lang="de-AT" b="1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8602C66-6A46-4095-A282-7F1F6E05ED0E}"/>
              </a:ext>
            </a:extLst>
          </p:cNvPr>
          <p:cNvSpPr>
            <a:spLocks noGrp="1"/>
          </p:cNvSpPr>
          <p:nvPr>
            <p:ph type="body" sz="quarter" idx="21"/>
            <p:custDataLst>
              <p:tags r:id="rId5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9016C6-EC04-4D84-8948-3939E595DC4C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7166FEE-B49A-4F13-B0AE-08C9253C19B5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02612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AT" dirty="0"/>
              <a:t>Folienlayout „Logo klein – 2 Inhalte … 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r>
              <a:rPr lang="de-AT" dirty="0"/>
              <a:t>Ein kleines Bächlein namens Duden fließt durch ihren Ort.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EDCB48C-6218-4689-B44A-E5F2712CE0D8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BA7E6A7-4654-435F-9732-43AA44282F79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AT" dirty="0"/>
              <a:t>… mit 2 Überschriften“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AT" dirty="0"/>
              <a:t>Nicht einmal von der </a:t>
            </a:r>
            <a:r>
              <a:rPr lang="de-AT" dirty="0" err="1"/>
              <a:t>allmäch-tigen</a:t>
            </a:r>
            <a:r>
              <a:rPr lang="de-AT" dirty="0"/>
              <a:t> Interpunktion werden die Mustertexte beherrscht – ein geradezu unorthographisches Leben. </a:t>
            </a:r>
          </a:p>
          <a:p>
            <a:r>
              <a:rPr lang="de-AT" dirty="0"/>
              <a:t>Eines Tages aber beschloss eine kleine Zeile Mustertext, ihr Name war Lorem Ipsum, hinaus zu gehen in die weite Grammatik. </a:t>
            </a:r>
          </a:p>
          <a:p>
            <a:r>
              <a:rPr lang="de-AT" dirty="0"/>
              <a:t>Der große Oxmox riet ihr davon ab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37B10C5-4AD8-4DDA-9F72-3E2A843ED336}"/>
              </a:ext>
            </a:extLst>
          </p:cNvPr>
          <p:cNvSpPr>
            <a:spLocks noGrp="1"/>
          </p:cNvSpPr>
          <p:nvPr>
            <p:ph type="body" sz="quarter" idx="21"/>
            <p:custDataLst>
              <p:tags r:id="rId6"/>
            </p:custDataLst>
          </p:nvPr>
        </p:nvSpPr>
        <p:spPr/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89DCC7-A5A9-4B18-9280-7B39F3BADE9C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C992D0A-928F-4C75-B90F-64A5E1BE6EC7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617618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660B2B-355C-4A8C-B12E-9E131BFCA25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468438"/>
            <a:ext cx="4464050" cy="828675"/>
          </a:xfrm>
        </p:spPr>
        <p:txBody>
          <a:bodyPr/>
          <a:lstStyle/>
          <a:p>
            <a:r>
              <a:rPr lang="de-AT" dirty="0"/>
              <a:t>Folienlayout </a:t>
            </a:r>
            <a:br>
              <a:rPr lang="de-AT" dirty="0"/>
            </a:br>
            <a:r>
              <a:rPr lang="de-AT" dirty="0"/>
              <a:t>„Logo klein – Bild groß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9DAE12-9757-4336-A681-3BD1E8158B7C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/>
          <a:p>
            <a:r>
              <a:rPr lang="de-AT" dirty="0"/>
              <a:t>Bei der Animation von Bildern sollten diese am rechten oberen Eck ausgerichtet werden. </a:t>
            </a:r>
          </a:p>
          <a:p>
            <a:r>
              <a:rPr lang="de-AT" dirty="0"/>
              <a:t>Mustertext: Weit hinten, hinter den Wort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pPr lvl="1"/>
            <a:endParaRPr lang="de-AT" dirty="0"/>
          </a:p>
          <a:p>
            <a:pPr lvl="1"/>
            <a:endParaRPr lang="de-AT" dirty="0"/>
          </a:p>
        </p:txBody>
      </p:sp>
      <p:pic>
        <p:nvPicPr>
          <p:cNvPr id="12" name="Bildplatzhalter 11" descr="Musterbild&#10;">
            <a:extLst>
              <a:ext uri="{FF2B5EF4-FFF2-40B4-BE49-F238E27FC236}">
                <a16:creationId xmlns:a16="http://schemas.microsoft.com/office/drawing/2014/main" id="{970362EC-8297-4F7F-8D0B-285512CAA67D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/>
          <a:srcRect l="2335" r="2335"/>
          <a:stretch/>
        </p:blipFill>
        <p:spPr>
          <a:xfrm>
            <a:off x="6419850" y="466725"/>
            <a:ext cx="5292725" cy="5257800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B8DD1E0-FC75-44D5-A685-15276050B3F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724525"/>
            <a:ext cx="529272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ADCC1B-4BB0-4F06-AF4E-DE26016BCD9F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EDCAF7-959A-48B7-8139-9CBFA2303CE2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87655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1D41DA-FED0-4223-98E0-D80C7864AC3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468438"/>
            <a:ext cx="10404474" cy="828675"/>
          </a:xfrm>
        </p:spPr>
        <p:txBody>
          <a:bodyPr/>
          <a:lstStyle/>
          <a:p>
            <a:r>
              <a:rPr lang="de-AT" dirty="0"/>
              <a:t>Folienlayout „Logo klein – Bild Querformat“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60C585-AA06-45B0-809E-6929B6CC6AF3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/>
          <a:p>
            <a:r>
              <a:rPr lang="de-AT" dirty="0"/>
              <a:t>Weit hinten, hinter den Wort-bergen, fern der Länder Vokalien und Konsonantien leben die Mustertexte. </a:t>
            </a:r>
          </a:p>
          <a:p>
            <a:r>
              <a:rPr lang="de-AT" dirty="0"/>
              <a:t>Abgeschieden wohnen Sie in Buchstabhausen an der Küste des Semantik, eines großen Sprachozeans. </a:t>
            </a:r>
          </a:p>
          <a:p>
            <a:r>
              <a:rPr lang="de-AT" dirty="0"/>
              <a:t>Eines Tages aber beschloss eine kleine Zeile Mustertext, ihr Name war Lorem Ipsum, hinaus zu gehen in die weite Grammatik. </a:t>
            </a:r>
          </a:p>
        </p:txBody>
      </p:sp>
      <p:pic>
        <p:nvPicPr>
          <p:cNvPr id="12" name="Bildplatzhalter 11" descr="Musterbild&#10;">
            <a:extLst>
              <a:ext uri="{FF2B5EF4-FFF2-40B4-BE49-F238E27FC236}">
                <a16:creationId xmlns:a16="http://schemas.microsoft.com/office/drawing/2014/main" id="{5A62F13F-BE24-4131-AC8D-6086FBCA81D3}"/>
              </a:ext>
            </a:extLst>
          </p:cNvPr>
          <p:cNvPicPr>
            <a:picLocks noGrp="1" noChangeAspect="1"/>
          </p:cNvPicPr>
          <p:nvPr>
            <p:ph type="pic" sz="quarter" idx="12"/>
            <p:custDataLst>
              <p:tags r:id="rId3"/>
            </p:custDataLst>
          </p:nvPr>
        </p:nvPicPr>
        <p:blipFill rotWithShape="1">
          <a:blip r:embed="rId9"/>
          <a:srcRect t="44" b="44"/>
          <a:stretch/>
        </p:blipFill>
        <p:spPr>
          <a:xfrm>
            <a:off x="6419850" y="1549400"/>
            <a:ext cx="5292725" cy="3527426"/>
          </a:xfr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80044DE-A15B-40E7-A4A5-5E93913A9839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6419850" y="5076825"/>
            <a:ext cx="5292725" cy="171450"/>
          </a:xfrm>
        </p:spPr>
        <p:txBody>
          <a:bodyPr vert="horz" lIns="0" tIns="0" rIns="0" bIns="0" rtlCol="0" anchor="b">
            <a:noAutofit/>
          </a:bodyPr>
          <a:lstStyle/>
          <a:p>
            <a:pPr marL="0" indent="0">
              <a:buNone/>
            </a:pPr>
            <a:r>
              <a:rPr lang="de-AT" sz="800" cap="all" dirty="0"/>
              <a:t>© Copyright- oder Quellenhinweis, ...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555E1A0-4B43-4AB2-A328-CA32D73F1A4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24A103E-D3CE-4BA1-BBFB-9FCEE8FFAE38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786546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DA8D6E1-6049-45E7-A669-EB17299D562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9" y="1549399"/>
            <a:ext cx="10405506" cy="828675"/>
          </a:xfrm>
        </p:spPr>
        <p:txBody>
          <a:bodyPr/>
          <a:lstStyle/>
          <a:p>
            <a:r>
              <a:rPr lang="de-AT" dirty="0"/>
              <a:t>Kontak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F91D08-566E-4A8E-AA4F-1FD67818F0F9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07070" y="3429000"/>
            <a:ext cx="9289494" cy="2455545"/>
          </a:xfrm>
        </p:spPr>
        <p:txBody>
          <a:bodyPr anchor="b"/>
          <a:lstStyle/>
          <a:p>
            <a:r>
              <a:rPr lang="de-AT" dirty="0"/>
              <a:t>Marianne Muster</a:t>
            </a:r>
          </a:p>
          <a:p>
            <a:r>
              <a:rPr lang="de-AT" dirty="0"/>
              <a:t>Technische Universität Wien</a:t>
            </a:r>
          </a:p>
          <a:p>
            <a:r>
              <a:rPr lang="de-AT" dirty="0"/>
              <a:t>Musterabteilung</a:t>
            </a:r>
          </a:p>
          <a:p>
            <a:r>
              <a:rPr lang="de-AT" dirty="0"/>
              <a:t>Resselgasse 3 | Stiege 2 | 2. Stock </a:t>
            </a:r>
          </a:p>
          <a:p>
            <a:r>
              <a:rPr lang="de-AT" dirty="0"/>
              <a:t>1040 Wien</a:t>
            </a:r>
          </a:p>
          <a:p>
            <a:r>
              <a:rPr lang="de-AT" dirty="0"/>
              <a:t>Telefon: +43 1 58801 41020</a:t>
            </a:r>
          </a:p>
          <a:p>
            <a:r>
              <a:rPr lang="de-AT" dirty="0">
                <a:hlinkClick r:id="rId7"/>
              </a:rPr>
              <a:t>marianne.muster@tuwien.ac.at</a:t>
            </a:r>
            <a:endParaRPr lang="de-AT" dirty="0"/>
          </a:p>
          <a:p>
            <a:r>
              <a:rPr lang="de-AT" dirty="0">
                <a:hlinkClick r:id="rId8"/>
              </a:rPr>
              <a:t>www.tuwien.at</a:t>
            </a:r>
            <a:r>
              <a:rPr lang="de-AT" dirty="0"/>
              <a:t>  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2FA9199-DB6D-496C-8807-48AA9B841223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67F6D3-8E61-48E9-ADFE-E4612210FDA2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600333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58EFD07-3B9E-403A-9444-57DE703B502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9" y="1549400"/>
            <a:ext cx="9275208" cy="556514"/>
          </a:xfrm>
        </p:spPr>
        <p:txBody>
          <a:bodyPr/>
          <a:lstStyle/>
          <a:p>
            <a:r>
              <a:rPr lang="en-US" dirty="0"/>
              <a:t>Technical Fundamentals of the Radar</a:t>
            </a:r>
            <a:endParaRPr lang="de-AT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29FA5FA-4B52-4796-89D6-6C1267FAC55B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1307070" y="2620963"/>
            <a:ext cx="6784168" cy="310356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First steps:</a:t>
            </a:r>
            <a:r>
              <a:rPr lang="en-US" sz="1800" b="0" dirty="0">
                <a:solidFill>
                  <a:schemeClr val="tx1"/>
                </a:solidFill>
              </a:rPr>
              <a:t> the group had to familiarize themselves with the basic functioning of radar system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Sensor Type: </a:t>
            </a:r>
            <a:r>
              <a:rPr lang="en-US" sz="1800" b="0" dirty="0">
                <a:solidFill>
                  <a:schemeClr val="tx1"/>
                </a:solidFill>
              </a:rPr>
              <a:t>It turned out that an FMCW (Frequency Modulated Continuous Wave) radar offers clear advantages for static objects. Fortunately, exactly this type is built into the boa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Measurement Condition: </a:t>
            </a:r>
            <a:r>
              <a:rPr lang="en-US" sz="1800" b="0" dirty="0">
                <a:solidFill>
                  <a:schemeClr val="tx1"/>
                </a:solidFill>
              </a:rPr>
              <a:t>For accurate measurements, a defined minimum distance of 20 cm between the sensor and the measured object must strictly be maintained.</a:t>
            </a:r>
            <a:endParaRPr lang="de-AT" sz="1800" b="0" dirty="0">
              <a:solidFill>
                <a:schemeClr val="tx1"/>
              </a:solidFill>
            </a:endParaRPr>
          </a:p>
          <a:p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666D920-BF8B-4042-AC09-ED45BE7842B2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3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  <p:pic>
        <p:nvPicPr>
          <p:cNvPr id="12" name="Grafik 11" descr="Ein Bild, das Text, Screenshot enthält.&#10;&#10;KI-generierte Inhalte können fehlerhaft sein.">
            <a:extLst>
              <a:ext uri="{FF2B5EF4-FFF2-40B4-BE49-F238E27FC236}">
                <a16:creationId xmlns:a16="http://schemas.microsoft.com/office/drawing/2014/main" id="{BEE6924E-99AB-868D-FAEE-F2E57E3E7E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1238" y="2705600"/>
            <a:ext cx="3885123" cy="2119158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FA51CFE2-0BF7-DDEB-60EC-55E1A0736801}"/>
              </a:ext>
            </a:extLst>
          </p:cNvPr>
          <p:cNvSpPr txBox="1"/>
          <p:nvPr/>
        </p:nvSpPr>
        <p:spPr>
          <a:xfrm>
            <a:off x="8091238" y="4909395"/>
            <a:ext cx="195964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Source: </a:t>
            </a:r>
            <a:r>
              <a:rPr lang="de-AT" sz="800" dirty="0"/>
              <a:t>Image </a:t>
            </a:r>
            <a:r>
              <a:rPr lang="de-AT" sz="800" dirty="0" err="1"/>
              <a:t>generated</a:t>
            </a:r>
            <a:r>
              <a:rPr lang="de-AT" sz="800" dirty="0"/>
              <a:t> </a:t>
            </a:r>
            <a:r>
              <a:rPr lang="de-AT" sz="800" dirty="0" err="1"/>
              <a:t>by</a:t>
            </a:r>
            <a:r>
              <a:rPr lang="de-AT" sz="800" dirty="0"/>
              <a:t> Gemini</a:t>
            </a:r>
            <a:r>
              <a:rPr lang="en-US" sz="800" dirty="0"/>
              <a:t> </a:t>
            </a:r>
            <a:endParaRPr lang="de-AT" sz="800" dirty="0"/>
          </a:p>
        </p:txBody>
      </p:sp>
    </p:spTree>
    <p:extLst>
      <p:ext uri="{BB962C8B-B14F-4D97-AF65-F5344CB8AC3E}">
        <p14:creationId xmlns:p14="http://schemas.microsoft.com/office/powerpoint/2010/main" val="6781317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934B29-ECED-BACE-49EB-CC18FCFBEB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5B1DA73-84AE-CE5D-8173-AACDA8068A7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70" y="1549399"/>
            <a:ext cx="9578418" cy="520266"/>
          </a:xfrm>
        </p:spPr>
        <p:txBody>
          <a:bodyPr/>
          <a:lstStyle/>
          <a:p>
            <a:r>
              <a:rPr lang="de-AT" dirty="0" err="1"/>
              <a:t>Methodology</a:t>
            </a:r>
            <a:r>
              <a:rPr lang="de-AT" dirty="0"/>
              <a:t> and Signal Processing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E4438A6-0CB0-C2B2-02F3-3B2214E2C9C3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1307069" y="2628899"/>
            <a:ext cx="4465082" cy="3410394"/>
          </a:xfrm>
        </p:spPr>
        <p:txBody>
          <a:bodyPr/>
          <a:lstStyle/>
          <a:p>
            <a:r>
              <a:rPr lang="en-US" sz="1800" b="1" dirty="0"/>
              <a:t>Signal Transformation: </a:t>
            </a:r>
            <a:r>
              <a:rPr lang="en-US" sz="1800" dirty="0"/>
              <a:t>The raw radar signal was transformed into the frequency domain using the Real Discrete Fourier Transform (</a:t>
            </a:r>
            <a:r>
              <a:rPr lang="en-US" sz="1800" dirty="0" err="1"/>
              <a:t>rDFT</a:t>
            </a:r>
            <a:r>
              <a:rPr lang="en-US" sz="1800" dirty="0"/>
              <a:t>) to perform the subsequent data analysis there.</a:t>
            </a:r>
          </a:p>
          <a:p>
            <a:r>
              <a:rPr lang="en-US" sz="1800" b="1" dirty="0"/>
              <a:t>Model Development: </a:t>
            </a:r>
            <a:r>
              <a:rPr lang="en-US" sz="1800" dirty="0"/>
              <a:t>Since no ready-made model existed for this specific radar module, the first priority was to develop a functional model from scratch.</a:t>
            </a:r>
          </a:p>
          <a:p>
            <a:r>
              <a:rPr lang="en-US" sz="1800" b="1" dirty="0"/>
              <a:t>Implementation: </a:t>
            </a:r>
            <a:r>
              <a:rPr lang="en-US" sz="1800" dirty="0"/>
              <a:t>The finished model, including the Fourier transform, was converted to </a:t>
            </a:r>
            <a:r>
              <a:rPr lang="en-US" sz="1800" dirty="0" err="1"/>
              <a:t>MicroPython</a:t>
            </a:r>
            <a:r>
              <a:rPr lang="en-US" sz="1800" dirty="0"/>
              <a:t>.</a:t>
            </a:r>
            <a:endParaRPr lang="de-AT" sz="1800" dirty="0"/>
          </a:p>
        </p:txBody>
      </p:sp>
      <p:pic>
        <p:nvPicPr>
          <p:cNvPr id="10" name="Inhaltsplatzhalter 9" descr="Ein Bild, das Text, Screenshot, Grafikdesign, Grafiken enthält.&#10;&#10;KI-generierte Inhalte können fehlerhaft sein.">
            <a:extLst>
              <a:ext uri="{FF2B5EF4-FFF2-40B4-BE49-F238E27FC236}">
                <a16:creationId xmlns:a16="http://schemas.microsoft.com/office/drawing/2014/main" id="{3AA85B2C-81E3-5492-5617-ADC2C1BE0A6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015813" y="2628899"/>
            <a:ext cx="5467350" cy="2982191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CA6957-4172-8AAD-57A6-E680DCD9518D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3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DA43C00-A978-59D3-BFAE-90241009E18C}"/>
              </a:ext>
            </a:extLst>
          </p:cNvPr>
          <p:cNvSpPr txBox="1"/>
          <p:nvPr/>
        </p:nvSpPr>
        <p:spPr>
          <a:xfrm>
            <a:off x="6015813" y="5611090"/>
            <a:ext cx="195964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Source: </a:t>
            </a:r>
            <a:r>
              <a:rPr lang="de-AT" sz="800" dirty="0"/>
              <a:t>Image </a:t>
            </a:r>
            <a:r>
              <a:rPr lang="de-AT" sz="800" dirty="0" err="1"/>
              <a:t>generated</a:t>
            </a:r>
            <a:r>
              <a:rPr lang="de-AT" sz="800" dirty="0"/>
              <a:t> </a:t>
            </a:r>
            <a:r>
              <a:rPr lang="de-AT" sz="800" dirty="0" err="1"/>
              <a:t>by</a:t>
            </a:r>
            <a:r>
              <a:rPr lang="de-AT" sz="800" dirty="0"/>
              <a:t> Gemini</a:t>
            </a:r>
            <a:r>
              <a:rPr lang="en-US" sz="800" dirty="0"/>
              <a:t> </a:t>
            </a:r>
            <a:endParaRPr lang="de-AT" sz="800" dirty="0"/>
          </a:p>
        </p:txBody>
      </p:sp>
    </p:spTree>
    <p:extLst>
      <p:ext uri="{BB962C8B-B14F-4D97-AF65-F5344CB8AC3E}">
        <p14:creationId xmlns:p14="http://schemas.microsoft.com/office/powerpoint/2010/main" val="35078100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0DF6D-F1D3-ED70-85D7-703242F3DB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1C2B16-61F0-B1D8-AFDA-BFFE0DABAE3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69084" cy="438889"/>
          </a:xfrm>
        </p:spPr>
        <p:txBody>
          <a:bodyPr/>
          <a:lstStyle/>
          <a:p>
            <a:r>
              <a:rPr lang="en-US" dirty="0"/>
              <a:t>Project Progress and Data Collectio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846372E-BA65-665F-8D80-5596A83C3322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08100" y="2628900"/>
            <a:ext cx="9269085" cy="216638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/>
              <a:t>Phase 1 (Laboratory Conditions): </a:t>
            </a:r>
            <a:r>
              <a:rPr lang="en-US" sz="1800" dirty="0"/>
              <a:t>The model was first trained to recognize the base states: What is the table? What does the empty cardboard box look like? What is the background nois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/>
              <a:t>Phase 2 (Robustness): </a:t>
            </a:r>
            <a:r>
              <a:rPr lang="en-US" sz="1800" dirty="0"/>
              <a:t>The box was intentionally placed at different angles and tilted so the model could learn to recognize the object regardless of its precise posi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/>
              <a:t>Phase 3 (Complexity): </a:t>
            </a:r>
            <a:r>
              <a:rPr lang="en-US" sz="1800" dirty="0"/>
              <a:t>A tin can was placed inside the cardboard box as the target/interference object, and comprehensive training data was generated again.</a:t>
            </a:r>
            <a:endParaRPr lang="de-AT" sz="180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1A8CB3-D6D2-6FCB-FEC9-68D62C023E48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608402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56B1B0-CA15-2F20-41F9-6F8E42830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754222-31BA-49E8-F9A5-325D61C16BE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69084" cy="437485"/>
          </a:xfrm>
        </p:spPr>
        <p:txBody>
          <a:bodyPr/>
          <a:lstStyle/>
          <a:p>
            <a:r>
              <a:rPr lang="de-AT" dirty="0"/>
              <a:t>Challenge 1: Extreme </a:t>
            </a:r>
            <a:r>
              <a:rPr lang="de-AT" dirty="0" err="1"/>
              <a:t>Sensitivity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F16732-FD4D-1800-8183-214F897D92E9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CBBFB11E-50C9-D149-BC11-09EA2917C83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307069" y="2628899"/>
            <a:ext cx="4465082" cy="34103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20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/>
              <a:t>Positioning: </a:t>
            </a:r>
            <a:r>
              <a:rPr lang="en-US" sz="1800" dirty="0"/>
              <a:t>Even minimal deviations in the sensor's height or tilt immediately yielded incorrect resul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/>
              <a:t>Room Acoustics &amp; Reflections: </a:t>
            </a:r>
            <a:r>
              <a:rPr lang="en-US" sz="1800" dirty="0"/>
              <a:t>The results varied greatly depending on the table surface, whether chairs were underneath it, or if walls were in close proxim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/>
              <a:t>Dynamic Disturbances: </a:t>
            </a:r>
            <a:r>
              <a:rPr lang="en-US" sz="1800" dirty="0"/>
              <a:t>Even just standing nearby or people walking around significantly distorted the measurement.</a:t>
            </a:r>
            <a:endParaRPr lang="de-AT" sz="1800" dirty="0"/>
          </a:p>
        </p:txBody>
      </p:sp>
      <p:pic>
        <p:nvPicPr>
          <p:cNvPr id="11" name="Grafik 10" descr="Ein Bild, das Text, Elektronik, Kabel, Elektrische Leitungen enthält.&#10;&#10;KI-generierte Inhalte können fehlerhaft sein.">
            <a:extLst>
              <a:ext uri="{FF2B5EF4-FFF2-40B4-BE49-F238E27FC236}">
                <a16:creationId xmlns:a16="http://schemas.microsoft.com/office/drawing/2014/main" id="{1EEB8BCA-DF5A-D311-2D39-FD450470CD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851" y="2628899"/>
            <a:ext cx="5315585" cy="289941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94B4AB3-83E4-672A-360E-DDF101F18D3D}"/>
              </a:ext>
            </a:extLst>
          </p:cNvPr>
          <p:cNvSpPr txBox="1"/>
          <p:nvPr/>
        </p:nvSpPr>
        <p:spPr>
          <a:xfrm>
            <a:off x="6419851" y="5528309"/>
            <a:ext cx="195964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Source: </a:t>
            </a:r>
            <a:r>
              <a:rPr lang="de-AT" sz="800" dirty="0"/>
              <a:t>Image </a:t>
            </a:r>
            <a:r>
              <a:rPr lang="de-AT" sz="800" dirty="0" err="1"/>
              <a:t>generated</a:t>
            </a:r>
            <a:r>
              <a:rPr lang="de-AT" sz="800" dirty="0"/>
              <a:t> </a:t>
            </a:r>
            <a:r>
              <a:rPr lang="de-AT" sz="800" dirty="0" err="1"/>
              <a:t>by</a:t>
            </a:r>
            <a:r>
              <a:rPr lang="de-AT" sz="800" dirty="0"/>
              <a:t> Gemini</a:t>
            </a:r>
            <a:r>
              <a:rPr lang="en-US" sz="800" dirty="0"/>
              <a:t> </a:t>
            </a:r>
            <a:endParaRPr lang="de-AT" sz="800" dirty="0"/>
          </a:p>
        </p:txBody>
      </p:sp>
    </p:spTree>
    <p:extLst>
      <p:ext uri="{BB962C8B-B14F-4D97-AF65-F5344CB8AC3E}">
        <p14:creationId xmlns:p14="http://schemas.microsoft.com/office/powerpoint/2010/main" val="33585533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139205-3355-4A4F-E62C-D69617486F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4A791E-6B9C-99C5-7BAF-945D61F5C2F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8001"/>
            <a:ext cx="9389288" cy="438884"/>
          </a:xfrm>
        </p:spPr>
        <p:txBody>
          <a:bodyPr/>
          <a:lstStyle/>
          <a:p>
            <a:r>
              <a:rPr lang="en-US" dirty="0"/>
              <a:t>Challenge 2: Hardware Variances &amp; Data Volume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81E819-187D-AC4E-69BA-A17C25E02D89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7</a:t>
            </a:fld>
            <a:endParaRPr lang="de-AT" dirty="0"/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6C76F833-176F-87E8-0ECE-C688FD93B98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307069" y="2628899"/>
            <a:ext cx="4465082" cy="34103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20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/>
              <a:t>Limits of Training: </a:t>
            </a:r>
            <a:r>
              <a:rPr lang="en-US" sz="1800" dirty="0"/>
              <a:t>The common assumption "more data = better model" did not apply in this case. Even a very large data collection (over 250 minutes of recording time) brought no significant improvement to the detection ra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/>
              <a:t>Hardware Inconsistency: </a:t>
            </a:r>
            <a:r>
              <a:rPr lang="en-US" sz="1800" dirty="0"/>
              <a:t>Unfortunately, the most severe problem only became apparent late in the project. When using a different PSOC6 board with the exact same test setup, the sensors delivered completely different measurement resul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8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D358998-C45A-42B7-4F82-D32700BF18C6}"/>
              </a:ext>
            </a:extLst>
          </p:cNvPr>
          <p:cNvSpPr txBox="1"/>
          <p:nvPr/>
        </p:nvSpPr>
        <p:spPr>
          <a:xfrm>
            <a:off x="6267634" y="5528309"/>
            <a:ext cx="195964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Source: </a:t>
            </a:r>
            <a:r>
              <a:rPr lang="de-AT" sz="800" dirty="0"/>
              <a:t>Image </a:t>
            </a:r>
            <a:r>
              <a:rPr lang="de-AT" sz="800" dirty="0" err="1"/>
              <a:t>generated</a:t>
            </a:r>
            <a:r>
              <a:rPr lang="de-AT" sz="800" dirty="0"/>
              <a:t> </a:t>
            </a:r>
            <a:r>
              <a:rPr lang="de-AT" sz="800" dirty="0" err="1"/>
              <a:t>by</a:t>
            </a:r>
            <a:r>
              <a:rPr lang="de-AT" sz="800" dirty="0"/>
              <a:t> Gemini</a:t>
            </a:r>
            <a:r>
              <a:rPr lang="en-US" sz="800" dirty="0"/>
              <a:t> </a:t>
            </a:r>
            <a:endParaRPr lang="de-AT" sz="800" dirty="0"/>
          </a:p>
        </p:txBody>
      </p:sp>
      <p:pic>
        <p:nvPicPr>
          <p:cNvPr id="7" name="Grafik 6" descr="Ein Bild, das Text, Screenshot, 3D-Modellierung, Spielesoftware enthält.&#10;&#10;KI-generierte Inhalte können fehlerhaft sein.">
            <a:extLst>
              <a:ext uri="{FF2B5EF4-FFF2-40B4-BE49-F238E27FC236}">
                <a16:creationId xmlns:a16="http://schemas.microsoft.com/office/drawing/2014/main" id="{FBB0D975-BCC5-59D6-D327-2F423AE798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634" y="2417896"/>
            <a:ext cx="5702423" cy="311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6903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785CCA3-738C-4EC7-80D0-7D6C5D647CA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70" y="1549399"/>
            <a:ext cx="9578418" cy="492465"/>
          </a:xfrm>
        </p:spPr>
        <p:txBody>
          <a:bodyPr/>
          <a:lstStyle/>
          <a:p>
            <a:r>
              <a:rPr lang="de-AT" dirty="0" err="1"/>
              <a:t>Visualization</a:t>
            </a:r>
            <a:r>
              <a:rPr lang="de-AT" dirty="0"/>
              <a:t>: The Dashboard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A73FB0-2A09-4CFF-932F-B7F2E7E5E3D4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/>
          <a:p>
            <a:r>
              <a:rPr lang="de-AT" dirty="0"/>
              <a:t>KA was wir hier hinschrieb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818AABF-CE9A-4B90-A44C-10335898455C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1308100" y="5795963"/>
            <a:ext cx="44640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4B2DCC-17A1-4F36-BD71-1F706BF2A8AC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/>
          <a:p>
            <a:r>
              <a:rPr lang="de-AT" dirty="0"/>
              <a:t>Bild von Visualisierung</a:t>
            </a:r>
          </a:p>
          <a:p>
            <a:endParaRPr lang="de-AT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DECEDD3-FF15-4CCF-B9B2-E1C1A18B7217}"/>
              </a:ext>
            </a:extLst>
          </p:cNvPr>
          <p:cNvSpPr>
            <a:spLocks noGrp="1"/>
          </p:cNvSpPr>
          <p:nvPr>
            <p:ph type="body" sz="quarter" idx="20"/>
            <p:custDataLst>
              <p:tags r:id="rId5"/>
            </p:custDataLst>
          </p:nvPr>
        </p:nvSpPr>
        <p:spPr>
          <a:xfrm>
            <a:off x="6419850" y="5795963"/>
            <a:ext cx="4464050" cy="100012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© Copyright- oder Quellenhinweis, ...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9C2E1CA-30DD-479B-AE35-DE6D252064F3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C381DAE-18EF-45B9-A652-655F84E4927D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298172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F730F1-5281-5D1F-EA0B-FBE1E172A7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2C8CC0B-05D1-1B7B-FBEF-828FB4EC128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70" y="1549400"/>
            <a:ext cx="9578418" cy="589708"/>
          </a:xfrm>
        </p:spPr>
        <p:txBody>
          <a:bodyPr/>
          <a:lstStyle/>
          <a:p>
            <a:r>
              <a:rPr lang="de-AT" dirty="0" err="1"/>
              <a:t>Conclusion</a:t>
            </a:r>
            <a:r>
              <a:rPr lang="de-AT" dirty="0"/>
              <a:t> and Critical </a:t>
            </a:r>
            <a:r>
              <a:rPr lang="de-AT" dirty="0" err="1"/>
              <a:t>Reflection</a:t>
            </a:r>
            <a:endParaRPr lang="de-AT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445C407-B304-FBED-6EE2-C8C1827D9255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1307069" y="2628900"/>
            <a:ext cx="4465082" cy="3407916"/>
          </a:xfrm>
        </p:spPr>
        <p:txBody>
          <a:bodyPr/>
          <a:lstStyle/>
          <a:p>
            <a:r>
              <a:rPr lang="en-US" sz="1800" b="1" dirty="0"/>
              <a:t>Summary: </a:t>
            </a:r>
            <a:r>
              <a:rPr lang="en-US" sz="1800" dirty="0"/>
              <a:t>Measuring and detecting the fill level of purely stationary objects using this specific FMCW radar is an extremely complex and error-prone undertaking.</a:t>
            </a:r>
          </a:p>
          <a:p>
            <a:r>
              <a:rPr lang="en-US" sz="1800" b="1" dirty="0"/>
              <a:t>Project Result: </a:t>
            </a:r>
            <a:r>
              <a:rPr lang="en-US" sz="1800" dirty="0"/>
              <a:t>Under the given hardware conditions, reliable detection unfortunately worked poorly or not at all.</a:t>
            </a:r>
          </a:p>
          <a:p>
            <a:r>
              <a:rPr lang="en-US" sz="1800" b="1" dirty="0"/>
              <a:t>Outlook: </a:t>
            </a:r>
            <a:r>
              <a:rPr lang="en-US" sz="1800" dirty="0"/>
              <a:t>For this specific problem (checking the contents of a static box), alternative measurement methods such as ultrasound or X-ray procedures are significantly more efficient and robust in practice.</a:t>
            </a:r>
            <a:endParaRPr lang="de-AT" sz="18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6D9AF06-E3FF-5F01-CE24-9629E5E97EB5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3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9</a:t>
            </a:fld>
            <a:endParaRPr lang="de-AT" dirty="0"/>
          </a:p>
        </p:txBody>
      </p:sp>
      <p:pic>
        <p:nvPicPr>
          <p:cNvPr id="16" name="Grafik 15" descr="Ein Bild, das Text, Screenshot, Flasche enthält.&#10;&#10;KI-generierte Inhalte können fehlerhaft sein.">
            <a:extLst>
              <a:ext uri="{FF2B5EF4-FFF2-40B4-BE49-F238E27FC236}">
                <a16:creationId xmlns:a16="http://schemas.microsoft.com/office/drawing/2014/main" id="{B77059AE-038D-267E-AAFB-0E94EF8C0C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628900"/>
            <a:ext cx="5945450" cy="3242973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974DEEC8-0DC4-F376-0166-17AD2A170423}"/>
              </a:ext>
            </a:extLst>
          </p:cNvPr>
          <p:cNvSpPr txBox="1"/>
          <p:nvPr/>
        </p:nvSpPr>
        <p:spPr>
          <a:xfrm>
            <a:off x="6096000" y="5871873"/>
            <a:ext cx="195964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Source: </a:t>
            </a:r>
            <a:r>
              <a:rPr lang="de-AT" sz="800" dirty="0"/>
              <a:t>Image </a:t>
            </a:r>
            <a:r>
              <a:rPr lang="de-AT" sz="800" dirty="0" err="1"/>
              <a:t>generated</a:t>
            </a:r>
            <a:r>
              <a:rPr lang="de-AT" sz="800" dirty="0"/>
              <a:t> </a:t>
            </a:r>
            <a:r>
              <a:rPr lang="de-AT" sz="800" dirty="0" err="1"/>
              <a:t>by</a:t>
            </a:r>
            <a:r>
              <a:rPr lang="de-AT" sz="800" dirty="0"/>
              <a:t> Gemini</a:t>
            </a:r>
            <a:r>
              <a:rPr lang="en-US" sz="800" dirty="0"/>
              <a:t> </a:t>
            </a:r>
            <a:endParaRPr lang="de-AT" sz="800" dirty="0"/>
          </a:p>
        </p:txBody>
      </p:sp>
    </p:spTree>
    <p:extLst>
      <p:ext uri="{BB962C8B-B14F-4D97-AF65-F5344CB8AC3E}">
        <p14:creationId xmlns:p14="http://schemas.microsoft.com/office/powerpoint/2010/main" val="1854745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W_Musterpraesentation</Template>
  <TotalTime>0</TotalTime>
  <Words>1687</Words>
  <Application>Microsoft Office PowerPoint</Application>
  <PresentationFormat>Breitbild</PresentationFormat>
  <Paragraphs>284</Paragraphs>
  <Slides>29</Slides>
  <Notes>2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1" baseType="lpstr">
      <vt:lpstr>Arial</vt:lpstr>
      <vt:lpstr>TU Wien</vt:lpstr>
      <vt:lpstr>Radar Detection of Static Objects</vt:lpstr>
      <vt:lpstr>Initial Situation and Objectives</vt:lpstr>
      <vt:lpstr>Technical Fundamentals of the Radar</vt:lpstr>
      <vt:lpstr>Methodology and Signal Processing</vt:lpstr>
      <vt:lpstr>Project Progress and Data Collection</vt:lpstr>
      <vt:lpstr>Challenge 1: Extreme Sensitivity</vt:lpstr>
      <vt:lpstr>Challenge 2: Hardware Variances &amp; Data Volume</vt:lpstr>
      <vt:lpstr>Visualization: The Dashboard</vt:lpstr>
      <vt:lpstr>Conclusion and Critical Reflection</vt:lpstr>
      <vt:lpstr>References</vt:lpstr>
      <vt:lpstr>Folienlayout „3 Inhalte“</vt:lpstr>
      <vt:lpstr>Folienlayout Fließtext 2-spaltig</vt:lpstr>
      <vt:lpstr>Folienlayout  „Bild groß“</vt:lpstr>
      <vt:lpstr>Folienlayout „Bild Querformat“</vt:lpstr>
      <vt:lpstr>Folienlayout „Tabelle“</vt:lpstr>
      <vt:lpstr>Folienlayout „Diagramm“</vt:lpstr>
      <vt:lpstr>Folienlayout „Abschnittsüberschrift“</vt:lpstr>
      <vt:lpstr>Folienlayout für Mediaclip</vt:lpstr>
      <vt:lpstr>Musterzitat Lorem ipsum dolor sit amet, consectetuer adipiscing elit. Maecenas porttitor congue massa. </vt:lpstr>
      <vt:lpstr>Folienlayout für großes Bild</vt:lpstr>
      <vt:lpstr>Folienlayout „Titelfolie  mit Sublogo“ (Beispiel)</vt:lpstr>
      <vt:lpstr>Folienlayout „Titelfolie mit Bild und Sublogo“ (Beispiel)</vt:lpstr>
      <vt:lpstr>Folienlayout „Abschnittsüberschrift mit Sublogo“</vt:lpstr>
      <vt:lpstr>Folienlayout „Logo klein – Titel und Inhalt“</vt:lpstr>
      <vt:lpstr>Folienlayout „Logo klein – 2 Inhalte“</vt:lpstr>
      <vt:lpstr>Folienlayout „Logo klein – 2 Inhalte … </vt:lpstr>
      <vt:lpstr>Folienlayout  „Logo klein – Bild groß“</vt:lpstr>
      <vt:lpstr>Folienlayout „Logo klein – Bild Querformat“</vt:lpstr>
      <vt:lpstr>Kontak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ritz Mader</dc:creator>
  <cp:lastModifiedBy>Moritz Mader</cp:lastModifiedBy>
  <cp:revision>6</cp:revision>
  <dcterms:created xsi:type="dcterms:W3CDTF">2026-02-21T19:37:48Z</dcterms:created>
  <dcterms:modified xsi:type="dcterms:W3CDTF">2026-02-21T23:2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